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  <p:sldMasterId id="2147483769" r:id="rId2"/>
    <p:sldMasterId id="2147483812" r:id="rId3"/>
    <p:sldMasterId id="2147483930" r:id="rId4"/>
  </p:sldMasterIdLst>
  <p:notesMasterIdLst>
    <p:notesMasterId r:id="rId12"/>
  </p:notesMasterIdLst>
  <p:sldIdLst>
    <p:sldId id="317" r:id="rId5"/>
    <p:sldId id="325" r:id="rId6"/>
    <p:sldId id="324" r:id="rId7"/>
    <p:sldId id="326" r:id="rId8"/>
    <p:sldId id="321" r:id="rId9"/>
    <p:sldId id="322" r:id="rId10"/>
    <p:sldId id="323" r:id="rId11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Chismar" initials="TC" lastIdx="26" clrIdx="0">
    <p:extLst>
      <p:ext uri="{19B8F6BF-5375-455C-9EA6-DF929625EA0E}">
        <p15:presenceInfo xmlns:p15="http://schemas.microsoft.com/office/powerpoint/2012/main" userId="S-1-5-21-854245398-839522115-725345543-2867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5" autoAdjust="0"/>
    <p:restoredTop sz="94434" autoAdjust="0"/>
  </p:normalViewPr>
  <p:slideViewPr>
    <p:cSldViewPr snapToGrid="0">
      <p:cViewPr>
        <p:scale>
          <a:sx n="86" d="100"/>
          <a:sy n="86" d="100"/>
        </p:scale>
        <p:origin x="202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875502-9020-4B8A-BBD5-B85C0F081093}" type="datetimeFigureOut">
              <a:rPr lang="en-US" smtClean="0"/>
              <a:t>8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A209D0-FA19-4F5F-95F0-7C4E9D5989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006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gif"/><Relationship Id="rId4" Type="http://schemas.openxmlformats.org/officeDocument/2006/relationships/image" Target="../media/image8.jpe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gi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9.jpe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0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1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2.jpe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jpe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gif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2527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2" y="384048"/>
            <a:ext cx="11430000" cy="5864352"/>
          </a:xfrm>
        </p:spPr>
        <p:txBody>
          <a:bodyPr rIns="0"/>
          <a:lstStyle>
            <a:lvl1pPr>
              <a:lnSpc>
                <a:spcPct val="90000"/>
              </a:lnSpc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25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384048"/>
            <a:ext cx="11426952" cy="5861304"/>
          </a:xfrm>
        </p:spPr>
        <p:txBody>
          <a:bodyPr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0423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7623048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1716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3803904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384048"/>
            <a:ext cx="3794760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7501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384048" y="383675"/>
            <a:ext cx="7616952" cy="58613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381000"/>
            <a:ext cx="3794760" cy="5864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1604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9862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228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958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>
                  <a:solidFill>
                    <a:srgbClr val="FFFFFF"/>
                  </a:solidFill>
                </a:rPr>
                <a:t>s</a:t>
              </a:r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45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220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2252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-1" y="0"/>
            <a:ext cx="12188950" cy="6858000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420216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93450"/>
              <a:gd name="connsiteY0" fmla="*/ 5201391 h 5201391"/>
              <a:gd name="connsiteX1" fmla="*/ 4202163 w 6093450"/>
              <a:gd name="connsiteY1" fmla="*/ 0 h 5201391"/>
              <a:gd name="connsiteX2" fmla="*/ 6093450 w 6093450"/>
              <a:gd name="connsiteY2" fmla="*/ 1739044 h 5201391"/>
              <a:gd name="connsiteX3" fmla="*/ 0 w 6093450"/>
              <a:gd name="connsiteY3" fmla="*/ 5201391 h 5201391"/>
              <a:gd name="connsiteX0" fmla="*/ 0 w 6093450"/>
              <a:gd name="connsiteY0" fmla="*/ 5201391 h 5201391"/>
              <a:gd name="connsiteX1" fmla="*/ 4055721 w 6093450"/>
              <a:gd name="connsiteY1" fmla="*/ 0 h 5201391"/>
              <a:gd name="connsiteX2" fmla="*/ 6093450 w 6093450"/>
              <a:gd name="connsiteY2" fmla="*/ 1739044 h 5201391"/>
              <a:gd name="connsiteX3" fmla="*/ 0 w 6093450"/>
              <a:gd name="connsiteY3" fmla="*/ 5201391 h 5201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3450" h="5201391">
                <a:moveTo>
                  <a:pt x="0" y="5201391"/>
                </a:moveTo>
                <a:lnTo>
                  <a:pt x="4055721" y="0"/>
                </a:lnTo>
                <a:lnTo>
                  <a:pt x="6093450" y="1739044"/>
                </a:lnTo>
                <a:lnTo>
                  <a:pt x="0" y="5201391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2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 flipH="1" flipV="1">
            <a:off x="-1" y="0"/>
            <a:ext cx="12188950" cy="6858000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420216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93450"/>
              <a:gd name="connsiteY0" fmla="*/ 5201391 h 5201391"/>
              <a:gd name="connsiteX1" fmla="*/ 4202163 w 6093450"/>
              <a:gd name="connsiteY1" fmla="*/ 0 h 5201391"/>
              <a:gd name="connsiteX2" fmla="*/ 6093450 w 6093450"/>
              <a:gd name="connsiteY2" fmla="*/ 1739044 h 5201391"/>
              <a:gd name="connsiteX3" fmla="*/ 0 w 6093450"/>
              <a:gd name="connsiteY3" fmla="*/ 5201391 h 5201391"/>
              <a:gd name="connsiteX0" fmla="*/ 0 w 6093450"/>
              <a:gd name="connsiteY0" fmla="*/ 5201391 h 5201391"/>
              <a:gd name="connsiteX1" fmla="*/ 4055721 w 6093450"/>
              <a:gd name="connsiteY1" fmla="*/ 0 h 5201391"/>
              <a:gd name="connsiteX2" fmla="*/ 6093450 w 6093450"/>
              <a:gd name="connsiteY2" fmla="*/ 1739044 h 5201391"/>
              <a:gd name="connsiteX3" fmla="*/ 0 w 6093450"/>
              <a:gd name="connsiteY3" fmla="*/ 5201391 h 5201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3450" h="5201391">
                <a:moveTo>
                  <a:pt x="0" y="5201391"/>
                </a:moveTo>
                <a:lnTo>
                  <a:pt x="4055721" y="0"/>
                </a:lnTo>
                <a:lnTo>
                  <a:pt x="6093450" y="1739044"/>
                </a:lnTo>
                <a:lnTo>
                  <a:pt x="0" y="5201391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16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REVERSE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 flipH="1" flipV="1">
            <a:off x="-1" y="0"/>
            <a:ext cx="12188950" cy="6858000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420216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93450"/>
              <a:gd name="connsiteY0" fmla="*/ 5201391 h 5201391"/>
              <a:gd name="connsiteX1" fmla="*/ 4202163 w 6093450"/>
              <a:gd name="connsiteY1" fmla="*/ 0 h 5201391"/>
              <a:gd name="connsiteX2" fmla="*/ 6093450 w 6093450"/>
              <a:gd name="connsiteY2" fmla="*/ 1739044 h 5201391"/>
              <a:gd name="connsiteX3" fmla="*/ 0 w 6093450"/>
              <a:gd name="connsiteY3" fmla="*/ 5201391 h 5201391"/>
              <a:gd name="connsiteX0" fmla="*/ 0 w 6093450"/>
              <a:gd name="connsiteY0" fmla="*/ 5201391 h 5201391"/>
              <a:gd name="connsiteX1" fmla="*/ 4055721 w 6093450"/>
              <a:gd name="connsiteY1" fmla="*/ 0 h 5201391"/>
              <a:gd name="connsiteX2" fmla="*/ 6093450 w 6093450"/>
              <a:gd name="connsiteY2" fmla="*/ 1739044 h 5201391"/>
              <a:gd name="connsiteX3" fmla="*/ 0 w 6093450"/>
              <a:gd name="connsiteY3" fmla="*/ 5201391 h 5201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3450" h="5201391">
                <a:moveTo>
                  <a:pt x="0" y="5201391"/>
                </a:moveTo>
                <a:lnTo>
                  <a:pt x="4055721" y="0"/>
                </a:lnTo>
                <a:lnTo>
                  <a:pt x="6093450" y="1739044"/>
                </a:lnTo>
                <a:lnTo>
                  <a:pt x="0" y="5201391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3895344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6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" y="-634336"/>
            <a:ext cx="12186960" cy="8126672"/>
          </a:xfrm>
          <a:prstGeom prst="rect">
            <a:avLst/>
          </a:prstGeom>
        </p:spPr>
      </p:pic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62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3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" y="-634336"/>
            <a:ext cx="12186960" cy="812667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70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 REVERSE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" y="-634336"/>
            <a:ext cx="12186960" cy="8126672"/>
          </a:xfrm>
          <a:prstGeom prst="rect">
            <a:avLst/>
          </a:prstGeom>
        </p:spPr>
      </p:pic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3895344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06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One-line tit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257741"/>
            <a:ext cx="1978025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8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22302"/>
            <a:ext cx="10566400" cy="4937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403" y="1524000"/>
            <a:ext cx="9613900" cy="4216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56429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227" y="641408"/>
            <a:ext cx="10925898" cy="323165"/>
          </a:xfrm>
          <a:prstGeom prst="rect">
            <a:avLst/>
          </a:prstGeom>
        </p:spPr>
        <p:txBody>
          <a:bodyPr lIns="121899" tIns="60949" rIns="121899" bIns="60949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7733" y="1498335"/>
            <a:ext cx="11173384" cy="2437591"/>
          </a:xfrm>
          <a:prstGeom prst="rect">
            <a:avLst/>
          </a:prstGeom>
        </p:spPr>
        <p:txBody>
          <a:bodyPr lIns="121899" tIns="60949" rIns="121899" bIns="60949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343" y="6621547"/>
            <a:ext cx="3594100" cy="153888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/>
            </a:lvl1pPr>
          </a:lstStyle>
          <a:p>
            <a:r>
              <a:rPr lang="en-US">
                <a:solidFill>
                  <a:prstClr val="black"/>
                </a:solidFill>
              </a:rPr>
              <a:t>© 3M 2007.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718436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5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353104" cy="757243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6095262" y="0"/>
            <a:ext cx="6101116" cy="7572432"/>
            <a:chOff x="6095262" y="0"/>
            <a:chExt cx="6101116" cy="6858864"/>
          </a:xfrm>
        </p:grpSpPr>
        <p:sp>
          <p:nvSpPr>
            <p:cNvPr id="23" name="Freeform 22"/>
            <p:cNvSpPr/>
            <p:nvPr userDrawn="1"/>
          </p:nvSpPr>
          <p:spPr>
            <a:xfrm>
              <a:off x="6105525" y="0"/>
              <a:ext cx="6082158" cy="6858000"/>
            </a:xfrm>
            <a:custGeom>
              <a:avLst/>
              <a:gdLst>
                <a:gd name="connsiteX0" fmla="*/ 6096000 w 6096000"/>
                <a:gd name="connsiteY0" fmla="*/ 0 h 6867525"/>
                <a:gd name="connsiteX1" fmla="*/ 0 w 6096000"/>
                <a:gd name="connsiteY1" fmla="*/ 9525 h 6867525"/>
                <a:gd name="connsiteX2" fmla="*/ 3362325 w 6096000"/>
                <a:gd name="connsiteY2" fmla="*/ 6867525 h 6867525"/>
                <a:gd name="connsiteX3" fmla="*/ 6096000 w 6096000"/>
                <a:gd name="connsiteY3" fmla="*/ 6858000 h 6867525"/>
                <a:gd name="connsiteX4" fmla="*/ 6096000 w 6096000"/>
                <a:gd name="connsiteY4" fmla="*/ 0 h 686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6000" h="6867525">
                  <a:moveTo>
                    <a:pt x="6096000" y="0"/>
                  </a:moveTo>
                  <a:lnTo>
                    <a:pt x="0" y="9525"/>
                  </a:lnTo>
                  <a:lnTo>
                    <a:pt x="3362325" y="6867525"/>
                  </a:lnTo>
                  <a:lnTo>
                    <a:pt x="6096000" y="6858000"/>
                  </a:lnTo>
                  <a:lnTo>
                    <a:pt x="60960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3"/>
            <p:cNvSpPr/>
            <p:nvPr userDrawn="1"/>
          </p:nvSpPr>
          <p:spPr>
            <a:xfrm flipH="1">
              <a:off x="6099048" y="0"/>
              <a:ext cx="6096736" cy="4569416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  <a:gd name="connsiteX0" fmla="*/ 2623 w 3395129"/>
                <a:gd name="connsiteY0" fmla="*/ 652 h 3446751"/>
                <a:gd name="connsiteX1" fmla="*/ 0 w 3395129"/>
                <a:gd name="connsiteY1" fmla="*/ 3446751 h 3446751"/>
                <a:gd name="connsiteX2" fmla="*/ 3395129 w 3395129"/>
                <a:gd name="connsiteY2" fmla="*/ 0 h 3446751"/>
                <a:gd name="connsiteX3" fmla="*/ 2623 w 3395129"/>
                <a:gd name="connsiteY3" fmla="*/ 652 h 34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5129" h="3446751">
                  <a:moveTo>
                    <a:pt x="2623" y="652"/>
                  </a:moveTo>
                  <a:cubicBezTo>
                    <a:pt x="1749" y="1149352"/>
                    <a:pt x="874" y="2298051"/>
                    <a:pt x="0" y="3446751"/>
                  </a:cubicBezTo>
                  <a:lnTo>
                    <a:pt x="3395129" y="0"/>
                  </a:lnTo>
                  <a:lnTo>
                    <a:pt x="2623" y="652"/>
                  </a:lnTo>
                  <a:close/>
                </a:path>
              </a:pathLst>
            </a:custGeom>
            <a:gradFill flip="none" rotWithShape="1">
              <a:gsLst>
                <a:gs pos="1000">
                  <a:schemeClr val="accent2"/>
                </a:gs>
                <a:gs pos="100000">
                  <a:schemeClr val="accent3"/>
                </a:gs>
              </a:gsLst>
              <a:lin ang="120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Freeform 24"/>
            <p:cNvSpPr/>
            <p:nvPr userDrawn="1"/>
          </p:nvSpPr>
          <p:spPr>
            <a:xfrm flipH="1">
              <a:off x="9451181" y="4569416"/>
              <a:ext cx="2745197" cy="2289448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  <a:gd name="connsiteX0" fmla="*/ 1529836 w 1529836"/>
                <a:gd name="connsiteY0" fmla="*/ 1726951 h 1726951"/>
                <a:gd name="connsiteX1" fmla="*/ 4894 w 1529836"/>
                <a:gd name="connsiteY1" fmla="*/ 0 h 1726951"/>
                <a:gd name="connsiteX2" fmla="*/ 0 w 1529836"/>
                <a:gd name="connsiteY2" fmla="*/ 1719114 h 1726951"/>
                <a:gd name="connsiteX3" fmla="*/ 1529836 w 1529836"/>
                <a:gd name="connsiteY3" fmla="*/ 1726951 h 1726951"/>
                <a:gd name="connsiteX0" fmla="*/ 1524956 w 1524956"/>
                <a:gd name="connsiteY0" fmla="*/ 1726951 h 1726951"/>
                <a:gd name="connsiteX1" fmla="*/ 14 w 1524956"/>
                <a:gd name="connsiteY1" fmla="*/ 0 h 1726951"/>
                <a:gd name="connsiteX2" fmla="*/ 139661 w 1524956"/>
                <a:gd name="connsiteY2" fmla="*/ 1496385 h 1726951"/>
                <a:gd name="connsiteX3" fmla="*/ 1524956 w 1524956"/>
                <a:gd name="connsiteY3" fmla="*/ 1726951 h 1726951"/>
                <a:gd name="connsiteX0" fmla="*/ 1525273 w 1525273"/>
                <a:gd name="connsiteY0" fmla="*/ 1726951 h 1726951"/>
                <a:gd name="connsiteX1" fmla="*/ 331 w 1525273"/>
                <a:gd name="connsiteY1" fmla="*/ 0 h 1726951"/>
                <a:gd name="connsiteX2" fmla="*/ 2068 w 1525273"/>
                <a:gd name="connsiteY2" fmla="*/ 1726299 h 1726951"/>
                <a:gd name="connsiteX3" fmla="*/ 1525273 w 1525273"/>
                <a:gd name="connsiteY3" fmla="*/ 1726951 h 172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5273" h="1726951">
                  <a:moveTo>
                    <a:pt x="1525273" y="1726951"/>
                  </a:moveTo>
                  <a:lnTo>
                    <a:pt x="331" y="0"/>
                  </a:lnTo>
                  <a:cubicBezTo>
                    <a:pt x="-1300" y="573038"/>
                    <a:pt x="3699" y="1153261"/>
                    <a:pt x="2068" y="1726299"/>
                  </a:cubicBezTo>
                  <a:lnTo>
                    <a:pt x="1525273" y="172695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3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25"/>
            <p:cNvSpPr/>
            <p:nvPr userDrawn="1"/>
          </p:nvSpPr>
          <p:spPr>
            <a:xfrm flipH="1">
              <a:off x="6095262" y="0"/>
              <a:ext cx="6100521" cy="6858864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5129" h="5173702">
                  <a:moveTo>
                    <a:pt x="1524942" y="5173702"/>
                  </a:moveTo>
                  <a:lnTo>
                    <a:pt x="0" y="3446751"/>
                  </a:lnTo>
                  <a:lnTo>
                    <a:pt x="3395129" y="0"/>
                  </a:lnTo>
                  <a:lnTo>
                    <a:pt x="1524942" y="5173702"/>
                  </a:lnTo>
                  <a:close/>
                </a:path>
              </a:pathLst>
            </a:custGeom>
            <a:gradFill flip="none" rotWithShape="1">
              <a:gsLst>
                <a:gs pos="1000">
                  <a:schemeClr val="accent2"/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035" y="1655791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GB" dirty="0"/>
              <a:t>                                   Hearing</a:t>
            </a:r>
            <a:br>
              <a:rPr lang="en-GB" dirty="0"/>
            </a:br>
            <a:r>
              <a:rPr lang="en-GB" dirty="0"/>
              <a:t>                                  Solutions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6" y="3895343"/>
            <a:ext cx="11467897" cy="9233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                  								       		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9027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6546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MM 2013_16: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701859" y="603084"/>
            <a:ext cx="11016944" cy="62813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715712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7557" y="457200"/>
            <a:ext cx="10401152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lang="en-US" sz="3200" b="1" smtClean="0">
                <a:solidFill>
                  <a:schemeClr val="tx1"/>
                </a:solidFill>
                <a:latin typeface="+mj-lt"/>
                <a:ea typeface="ヒラギノ角ゴ Pro W3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2"/>
          <p:cNvSpPr>
            <a:spLocks noGrp="1"/>
          </p:cNvSpPr>
          <p:nvPr>
            <p:ph sz="quarter" idx="10"/>
          </p:nvPr>
        </p:nvSpPr>
        <p:spPr>
          <a:xfrm>
            <a:off x="1077557" y="1472943"/>
            <a:ext cx="6925527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7518" y="1478659"/>
            <a:ext cx="3201234" cy="40780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1236920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mmunication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0330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420"/>
            <a:ext cx="8106843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8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3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10361144" cy="4594476"/>
          </a:xfrm>
        </p:spPr>
        <p:txBody>
          <a:bodyPr l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36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2521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653925"/>
            <a:ext cx="1036114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4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3892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9676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3078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7422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3159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7422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1605678"/>
            <a:ext cx="4999202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092030" y="1605678"/>
            <a:ext cx="5178191" cy="553998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91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8216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0563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45720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2637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913839" y="1605678"/>
            <a:ext cx="4999202" cy="55399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092030" y="1605678"/>
            <a:ext cx="5178191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8216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5353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60078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5635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60078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3174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74114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3241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74114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3981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298448"/>
            <a:ext cx="10362732" cy="4956048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3150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384048"/>
            <a:ext cx="10361146" cy="5864352"/>
          </a:xfrm>
        </p:spPr>
        <p:txBody>
          <a:bodyPr rIns="0"/>
          <a:lstStyle>
            <a:lvl1pPr marL="0" indent="0">
              <a:lnSpc>
                <a:spcPct val="90000"/>
              </a:lnSpc>
              <a:buFontTx/>
              <a:buNone/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6315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1653920"/>
            <a:ext cx="10367370" cy="4591432"/>
          </a:xfrm>
        </p:spPr>
        <p:txBody>
          <a:bodyPr r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4394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0"/>
            <a:ext cx="32603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653920"/>
            <a:ext cx="70870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660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4"/>
            <a:ext cx="3260333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4"/>
            <a:ext cx="3261600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4"/>
            <a:ext cx="3278622" cy="4591427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6278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0803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7087161" cy="4591054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1653925"/>
            <a:ext cx="3255697" cy="45913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2778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7853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0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097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>
                  <a:solidFill>
                    <a:srgbClr val="FFFFFF"/>
                  </a:solidFill>
                </a:rPr>
                <a:t>s</a:t>
              </a:r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394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419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E8FA9D-5505-42B7-BC59-F4AC0B5FD2AA}" type="datetimeFigureOut">
              <a:rPr lang="sv-SE" smtClean="0">
                <a:solidFill>
                  <a:prstClr val="black"/>
                </a:solidFill>
              </a:rPr>
              <a:pPr/>
              <a:t>2018-08-06</a:t>
            </a:fld>
            <a:endParaRPr lang="sv-SE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D409129-AD21-4AB0-AB82-C36576915FC6}" type="slidenum">
              <a:rPr lang="sv-SE" smtClean="0">
                <a:solidFill>
                  <a:prstClr val="black"/>
                </a:solidFill>
              </a:rPr>
              <a:pPr/>
              <a:t>‹#›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9794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22119-cover4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8" y="1540443"/>
            <a:ext cx="12192127" cy="395020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auto">
          <a:xfrm>
            <a:off x="1" y="1"/>
            <a:ext cx="12192000" cy="144666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687790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87790" y="914400"/>
            <a:ext cx="10792731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687790" y="54865"/>
            <a:ext cx="1079273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rgbClr val="000000">
                    <a:lumMod val="50000"/>
                    <a:lumOff val="50000"/>
                  </a:srgbClr>
                </a:solidFill>
                <a:ea typeface="Arial" charset="0"/>
                <a:cs typeface="Arial" charset="0"/>
              </a:rPr>
              <a:t>3M Engineering</a:t>
            </a:r>
            <a:endParaRPr lang="en-US" sz="1600" dirty="0">
              <a:solidFill>
                <a:srgbClr val="000000">
                  <a:lumMod val="50000"/>
                  <a:lumOff val="50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220190" y="6502401"/>
            <a:ext cx="406506" cy="2370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13770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8231744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817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7790" y="914400"/>
            <a:ext cx="10792731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8231744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20623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6525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95505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731710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7519" y="1285875"/>
            <a:ext cx="3201234" cy="4572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8773596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7790" y="914400"/>
            <a:ext cx="10792731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685979" y="1280160"/>
            <a:ext cx="731710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7518" y="1285875"/>
            <a:ext cx="3201234" cy="4572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0779351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2 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525917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22"/>
          <p:cNvSpPr>
            <a:spLocks noGrp="1"/>
          </p:cNvSpPr>
          <p:nvPr>
            <p:ph sz="quarter" idx="11"/>
          </p:nvPr>
        </p:nvSpPr>
        <p:spPr>
          <a:xfrm>
            <a:off x="6219539" y="1280160"/>
            <a:ext cx="525917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18256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7790" y="914400"/>
            <a:ext cx="10792731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525917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6219539" y="1280160"/>
            <a:ext cx="525917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06034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979" y="1280160"/>
            <a:ext cx="347562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336808" y="1280160"/>
            <a:ext cx="347562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2"/>
          <p:cNvSpPr>
            <a:spLocks noGrp="1"/>
          </p:cNvSpPr>
          <p:nvPr>
            <p:ph sz="quarter" idx="12"/>
          </p:nvPr>
        </p:nvSpPr>
        <p:spPr>
          <a:xfrm>
            <a:off x="7996106" y="1280160"/>
            <a:ext cx="347562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5429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7790" y="914400"/>
            <a:ext cx="10792731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979" y="1280160"/>
            <a:ext cx="347562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336806" y="1280160"/>
            <a:ext cx="347562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2"/>
          <p:cNvSpPr>
            <a:spLocks noGrp="1"/>
          </p:cNvSpPr>
          <p:nvPr>
            <p:ph sz="quarter" idx="12"/>
          </p:nvPr>
        </p:nvSpPr>
        <p:spPr>
          <a:xfrm>
            <a:off x="7996103" y="1280160"/>
            <a:ext cx="3475625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1797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2"/>
          <p:cNvSpPr>
            <a:spLocks noGrp="1"/>
          </p:cNvSpPr>
          <p:nvPr>
            <p:ph sz="quarter" idx="12"/>
          </p:nvPr>
        </p:nvSpPr>
        <p:spPr>
          <a:xfrm>
            <a:off x="6219539" y="128016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2"/>
          <p:cNvSpPr>
            <a:spLocks noGrp="1"/>
          </p:cNvSpPr>
          <p:nvPr>
            <p:ph sz="quarter" idx="13"/>
          </p:nvPr>
        </p:nvSpPr>
        <p:spPr>
          <a:xfrm>
            <a:off x="685978" y="361188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2"/>
          <p:cNvSpPr>
            <a:spLocks noGrp="1"/>
          </p:cNvSpPr>
          <p:nvPr>
            <p:ph sz="quarter" idx="14"/>
          </p:nvPr>
        </p:nvSpPr>
        <p:spPr>
          <a:xfrm>
            <a:off x="6219539" y="361188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84149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4 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685978" y="457200"/>
            <a:ext cx="1079273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87790" y="914400"/>
            <a:ext cx="10792731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Content Placeholder 22"/>
          <p:cNvSpPr>
            <a:spLocks noGrp="1"/>
          </p:cNvSpPr>
          <p:nvPr>
            <p:ph sz="quarter" idx="10"/>
          </p:nvPr>
        </p:nvSpPr>
        <p:spPr>
          <a:xfrm>
            <a:off x="685978" y="128016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2"/>
          <p:cNvSpPr>
            <a:spLocks noGrp="1"/>
          </p:cNvSpPr>
          <p:nvPr>
            <p:ph sz="quarter" idx="12"/>
          </p:nvPr>
        </p:nvSpPr>
        <p:spPr>
          <a:xfrm>
            <a:off x="6219539" y="128016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2"/>
          <p:cNvSpPr>
            <a:spLocks noGrp="1"/>
          </p:cNvSpPr>
          <p:nvPr>
            <p:ph sz="quarter" idx="13"/>
          </p:nvPr>
        </p:nvSpPr>
        <p:spPr>
          <a:xfrm>
            <a:off x="685978" y="361188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/>
          <p:cNvSpPr>
            <a:spLocks noGrp="1"/>
          </p:cNvSpPr>
          <p:nvPr>
            <p:ph sz="quarter" idx="14"/>
          </p:nvPr>
        </p:nvSpPr>
        <p:spPr>
          <a:xfrm>
            <a:off x="6219539" y="3611880"/>
            <a:ext cx="525917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02558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5943600"/>
            <a:ext cx="12192000" cy="9144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 descr="22135-divider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5"/>
            <a:ext cx="12192000" cy="6857928"/>
          </a:xfrm>
          <a:prstGeom prst="rect">
            <a:avLst/>
          </a:prstGeom>
        </p:spPr>
      </p:pic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1280493" y="2551897"/>
            <a:ext cx="9603701" cy="640080"/>
          </a:xfrm>
          <a:prstGeom prst="rect">
            <a:avLst/>
          </a:prstGeom>
        </p:spPr>
        <p:txBody>
          <a:bodyPr lIns="0" tIns="0" rIns="0" bIns="0"/>
          <a:lstStyle>
            <a:lvl1pPr>
              <a:defRPr sz="6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80493" y="3331480"/>
            <a:ext cx="9603701" cy="91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32180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3322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5943600"/>
            <a:ext cx="12192000" cy="9144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 descr="22135-divider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5"/>
            <a:ext cx="12192000" cy="6857928"/>
          </a:xfrm>
          <a:prstGeom prst="rect">
            <a:avLst/>
          </a:prstGeom>
        </p:spPr>
      </p:pic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1280493" y="2551897"/>
            <a:ext cx="9603701" cy="640080"/>
          </a:xfrm>
          <a:prstGeom prst="rect">
            <a:avLst/>
          </a:prstGeom>
        </p:spPr>
        <p:txBody>
          <a:bodyPr lIns="0" tIns="0" rIns="0" bIns="0"/>
          <a:lstStyle>
            <a:lvl1pPr>
              <a:defRPr sz="6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80493" y="3331480"/>
            <a:ext cx="9603701" cy="91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994224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05126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19127"/>
            <a:ext cx="10566400" cy="49371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1" y="1524000"/>
            <a:ext cx="9613900" cy="421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876301" y="6572252"/>
            <a:ext cx="2844800" cy="2000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Arial" charset="0"/>
                <a:cs typeface="Arial" charset="0"/>
              </a:rPr>
              <a:t>© 3M 2011.  All Rights Reserved.</a:t>
            </a:r>
            <a:endParaRPr lang="en-US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800674"/>
      </p:ext>
    </p:extLst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S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4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mmunication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03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41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E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663"/>
            <a:ext cx="12212922" cy="6863662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 flipH="1" flipV="1">
            <a:off x="1" y="-17420"/>
            <a:ext cx="8130732" cy="6875419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0 w 6075372"/>
              <a:gd name="connsiteY0" fmla="*/ 5175181 h 5175181"/>
              <a:gd name="connsiteX1" fmla="*/ 2883458 w 6075372"/>
              <a:gd name="connsiteY1" fmla="*/ 0 h 5175181"/>
              <a:gd name="connsiteX2" fmla="*/ 6075372 w 6075372"/>
              <a:gd name="connsiteY2" fmla="*/ 1769932 h 5175181"/>
              <a:gd name="connsiteX3" fmla="*/ 0 w 6075372"/>
              <a:gd name="connsiteY3" fmla="*/ 5175181 h 5175181"/>
              <a:gd name="connsiteX0" fmla="*/ 0 w 6053933"/>
              <a:gd name="connsiteY0" fmla="*/ 5175181 h 5175181"/>
              <a:gd name="connsiteX1" fmla="*/ 2883458 w 6053933"/>
              <a:gd name="connsiteY1" fmla="*/ 0 h 5175181"/>
              <a:gd name="connsiteX2" fmla="*/ 6053933 w 6053933"/>
              <a:gd name="connsiteY2" fmla="*/ 1755636 h 5175181"/>
              <a:gd name="connsiteX3" fmla="*/ 0 w 6053933"/>
              <a:gd name="connsiteY3" fmla="*/ 5175181 h 5175181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762784 h 5182329"/>
              <a:gd name="connsiteX3" fmla="*/ 0 w 6053933"/>
              <a:gd name="connsiteY3" fmla="*/ 5182329 h 5182329"/>
              <a:gd name="connsiteX0" fmla="*/ 0 w 6025167"/>
              <a:gd name="connsiteY0" fmla="*/ 5182329 h 5182329"/>
              <a:gd name="connsiteX1" fmla="*/ 2869075 w 6025167"/>
              <a:gd name="connsiteY1" fmla="*/ 0 h 5182329"/>
              <a:gd name="connsiteX2" fmla="*/ 6025167 w 6025167"/>
              <a:gd name="connsiteY2" fmla="*/ 1905745 h 5182329"/>
              <a:gd name="connsiteX3" fmla="*/ 0 w 6025167"/>
              <a:gd name="connsiteY3" fmla="*/ 5182329 h 5182329"/>
              <a:gd name="connsiteX0" fmla="*/ 0 w 6053933"/>
              <a:gd name="connsiteY0" fmla="*/ 5182329 h 5182329"/>
              <a:gd name="connsiteX1" fmla="*/ 2869075 w 6053933"/>
              <a:gd name="connsiteY1" fmla="*/ 0 h 5182329"/>
              <a:gd name="connsiteX2" fmla="*/ 6053933 w 6053933"/>
              <a:gd name="connsiteY2" fmla="*/ 1905745 h 5182329"/>
              <a:gd name="connsiteX3" fmla="*/ 0 w 6053933"/>
              <a:gd name="connsiteY3" fmla="*/ 5182329 h 5182329"/>
              <a:gd name="connsiteX0" fmla="*/ 0 w 6063522"/>
              <a:gd name="connsiteY0" fmla="*/ 5191860 h 5191860"/>
              <a:gd name="connsiteX1" fmla="*/ 2878664 w 6063522"/>
              <a:gd name="connsiteY1" fmla="*/ 0 h 5191860"/>
              <a:gd name="connsiteX2" fmla="*/ 6063522 w 6063522"/>
              <a:gd name="connsiteY2" fmla="*/ 1905745 h 5191860"/>
              <a:gd name="connsiteX3" fmla="*/ 0 w 6063522"/>
              <a:gd name="connsiteY3" fmla="*/ 5191860 h 5191860"/>
              <a:gd name="connsiteX0" fmla="*/ 0 w 6073111"/>
              <a:gd name="connsiteY0" fmla="*/ 5191860 h 5191860"/>
              <a:gd name="connsiteX1" fmla="*/ 2878664 w 6073111"/>
              <a:gd name="connsiteY1" fmla="*/ 0 h 5191860"/>
              <a:gd name="connsiteX2" fmla="*/ 6073111 w 6073111"/>
              <a:gd name="connsiteY2" fmla="*/ 1915276 h 5191860"/>
              <a:gd name="connsiteX3" fmla="*/ 0 w 6073111"/>
              <a:gd name="connsiteY3" fmla="*/ 5191860 h 5191860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924807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888253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073111"/>
              <a:gd name="connsiteY0" fmla="*/ 5201391 h 5201391"/>
              <a:gd name="connsiteX1" fmla="*/ 2973730 w 6073111"/>
              <a:gd name="connsiteY1" fmla="*/ 0 h 5201391"/>
              <a:gd name="connsiteX2" fmla="*/ 6073111 w 6073111"/>
              <a:gd name="connsiteY2" fmla="*/ 1739869 h 5201391"/>
              <a:gd name="connsiteX3" fmla="*/ 0 w 6073111"/>
              <a:gd name="connsiteY3" fmla="*/ 5201391 h 5201391"/>
              <a:gd name="connsiteX0" fmla="*/ 0 w 6112562"/>
              <a:gd name="connsiteY0" fmla="*/ 5201391 h 5201391"/>
              <a:gd name="connsiteX1" fmla="*/ 3013181 w 6112562"/>
              <a:gd name="connsiteY1" fmla="*/ 0 h 5201391"/>
              <a:gd name="connsiteX2" fmla="*/ 6112562 w 6112562"/>
              <a:gd name="connsiteY2" fmla="*/ 1739869 h 5201391"/>
              <a:gd name="connsiteX3" fmla="*/ 0 w 6112562"/>
              <a:gd name="connsiteY3" fmla="*/ 5201391 h 5201391"/>
              <a:gd name="connsiteX0" fmla="*/ 0 w 6138863"/>
              <a:gd name="connsiteY0" fmla="*/ 5214602 h 5214602"/>
              <a:gd name="connsiteX1" fmla="*/ 3039482 w 6138863"/>
              <a:gd name="connsiteY1" fmla="*/ 0 h 5214602"/>
              <a:gd name="connsiteX2" fmla="*/ 6138863 w 6138863"/>
              <a:gd name="connsiteY2" fmla="*/ 1739869 h 5214602"/>
              <a:gd name="connsiteX3" fmla="*/ 0 w 6138863"/>
              <a:gd name="connsiteY3" fmla="*/ 5214602 h 521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5214602">
                <a:moveTo>
                  <a:pt x="0" y="5214602"/>
                </a:moveTo>
                <a:lnTo>
                  <a:pt x="3039482" y="0"/>
                </a:lnTo>
                <a:lnTo>
                  <a:pt x="6138863" y="1739869"/>
                </a:lnTo>
                <a:lnTo>
                  <a:pt x="0" y="5214602"/>
                </a:lnTo>
                <a:close/>
              </a:path>
            </a:pathLst>
          </a:custGeom>
          <a:gradFill flip="none" rotWithShape="1">
            <a:gsLst>
              <a:gs pos="52000">
                <a:schemeClr val="accent2"/>
              </a:gs>
              <a:gs pos="100000">
                <a:schemeClr val="accent1"/>
              </a:gs>
              <a:gs pos="20000">
                <a:schemeClr val="accent3"/>
              </a:gs>
            </a:gsLst>
            <a:lin ang="7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Two line title</a:t>
            </a:r>
            <a:br>
              <a:rPr lang="en-US"/>
            </a:br>
            <a:r>
              <a:rPr lang="en-US"/>
              <a:t>goes here</a:t>
            </a:r>
            <a:endParaRPr lang="en-GB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69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3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10361144" cy="4594476"/>
          </a:xfrm>
        </p:spPr>
        <p:txBody>
          <a:bodyPr l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36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9759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653925"/>
            <a:ext cx="1036114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4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3858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0867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52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980898"/>
            <a:ext cx="10364322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014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7422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74514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79414"/>
            <a:ext cx="1035638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7422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9" y="1605678"/>
            <a:ext cx="4999202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092030" y="1605678"/>
            <a:ext cx="5178191" cy="553998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844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1653925"/>
            <a:ext cx="499920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653925"/>
            <a:ext cx="5182162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5010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2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913839" y="1605678"/>
            <a:ext cx="4999202" cy="55399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092030" y="1605678"/>
            <a:ext cx="5178191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79414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8" y="2338445"/>
            <a:ext cx="499920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2338445"/>
            <a:ext cx="5182162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64324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7356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60078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8654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40" y="380999"/>
            <a:ext cx="10356382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60078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108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3260333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5"/>
            <a:ext cx="3261600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5"/>
            <a:ext cx="3274114" cy="459447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9927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3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3839" y="380999"/>
            <a:ext cx="10356384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3838" y="980898"/>
            <a:ext cx="10370420" cy="365760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2338445"/>
            <a:ext cx="3260333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sz="2000"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2338445"/>
            <a:ext cx="3261600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2338445"/>
            <a:ext cx="3274114" cy="3909956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10144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461358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12572" y="1605678"/>
            <a:ext cx="3260077" cy="55399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0" anchor="ctr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78456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913839" y="1298448"/>
            <a:ext cx="10362732" cy="4956048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3374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8448"/>
            <a:ext cx="11431590" cy="4956048"/>
          </a:xfrm>
        </p:spPr>
        <p:txBody>
          <a:bodyPr/>
          <a:lstStyle>
            <a:lvl1pPr>
              <a:lnSpc>
                <a:spcPct val="90000"/>
              </a:lnSpc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9144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384048"/>
            <a:ext cx="10361146" cy="5864352"/>
          </a:xfrm>
        </p:spPr>
        <p:txBody>
          <a:bodyPr rIns="0"/>
          <a:lstStyle>
            <a:lvl1pPr marL="0" indent="0">
              <a:lnSpc>
                <a:spcPct val="90000"/>
              </a:lnSpc>
              <a:buFontTx/>
              <a:buNone/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6252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839" y="1653920"/>
            <a:ext cx="10367370" cy="4591432"/>
          </a:xfrm>
        </p:spPr>
        <p:txBody>
          <a:bodyPr rIns="0"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6649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0"/>
            <a:ext cx="32603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653920"/>
            <a:ext cx="7087033" cy="4591432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101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4"/>
            <a:ext cx="3260333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000" kern="1200" noProof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461358" y="1653924"/>
            <a:ext cx="3261600" cy="4591428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653924"/>
            <a:ext cx="3278622" cy="4591427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597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913838" y="1653925"/>
            <a:ext cx="7087161" cy="4591054"/>
          </a:xfrm>
        </p:spPr>
        <p:txBody>
          <a:bodyPr/>
          <a:lstStyle>
            <a:lvl1pPr marL="722313" marR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1pPr>
            <a:lvl2pPr marL="987425" marR="0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25253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14488" marR="0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marL="722313" marR="0" lvl="0" indent="-722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987425" marR="0" lvl="1" indent="-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2538" marR="0" lvl="2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14488" marR="0" lvl="3" indent="-2794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1653925"/>
            <a:ext cx="3255697" cy="45913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7457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2753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August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00404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146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>
                  <a:solidFill>
                    <a:srgbClr val="FFFFFF"/>
                  </a:solidFill>
                </a:rPr>
                <a:t>s</a:t>
              </a:r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153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21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image" Target="../media/image7.gif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vmlDrawing" Target="../drawings/vmlDrawing6.v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image" Target="../media/image14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image" Target="../media/image7.gif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vmlDrawing" Target="../drawings/vmlDrawing8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oleObject" Target="../embeddings/oleObject8.bin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801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20" r:id="rId29"/>
    <p:sldLayoutId id="2147483721" r:id="rId30"/>
    <p:sldLayoutId id="2147483722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3" orient="horz" pos="4080">
          <p15:clr>
            <a:srgbClr val="F26B43"/>
          </p15:clr>
        </p15:guide>
        <p15:guide id="14" orient="horz" pos="3936">
          <p15:clr>
            <a:srgbClr val="F26B43"/>
          </p15:clr>
        </p15:guide>
        <p15:guide id="15" pos="5034">
          <p15:clr>
            <a:srgbClr val="F26B43"/>
          </p15:clr>
        </p15:guide>
        <p15:guide id="16" orient="horz" pos="3312">
          <p15:clr>
            <a:srgbClr val="F26B43"/>
          </p15:clr>
        </p15:guide>
        <p15:guide id="17" orient="horz" pos="2702">
          <p15:clr>
            <a:srgbClr val="F26B43"/>
          </p15:clr>
        </p15:guide>
        <p15:guide id="18" pos="2634">
          <p15:clr>
            <a:srgbClr val="F26B43"/>
          </p15:clr>
        </p15:guide>
        <p15:guide id="19" pos="5046">
          <p15:clr>
            <a:srgbClr val="F26B43"/>
          </p15:clr>
        </p15:guide>
        <p15:guide id="20" orient="horz" pos="1468">
          <p15:clr>
            <a:srgbClr val="F26B43"/>
          </p15:clr>
        </p15:guide>
        <p15:guide id="21" orient="horz" pos="1480">
          <p15:clr>
            <a:srgbClr val="F26B43"/>
          </p15:clr>
        </p15:guide>
        <p15:guide id="22" orient="horz" pos="2706">
          <p15:clr>
            <a:srgbClr val="F26B43"/>
          </p15:clr>
        </p15:guide>
        <p15:guide id="23" pos="2648">
          <p15:clr>
            <a:srgbClr val="F26B43"/>
          </p15:clr>
        </p15:guide>
        <p15:guide id="24" orient="horz" pos="576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839" y="1653924"/>
            <a:ext cx="10356382" cy="4594475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7694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  <p:sldLayoutId id="2147483793" r:id="rId24"/>
    <p:sldLayoutId id="2147483794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22313" indent="-722313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SzPct val="100000"/>
        <a:buFontTx/>
        <a:buBlip>
          <a:blip r:embed="rId31"/>
        </a:buBlip>
        <a:defRPr lang="en-US" sz="28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987425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25253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1448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33413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3" orient="horz" pos="4080">
          <p15:clr>
            <a:srgbClr val="F26B43"/>
          </p15:clr>
        </p15:guide>
        <p15:guide id="14" orient="horz" pos="3936">
          <p15:clr>
            <a:srgbClr val="F26B43"/>
          </p15:clr>
        </p15:guide>
        <p15:guide id="15" pos="5034">
          <p15:clr>
            <a:srgbClr val="F26B43"/>
          </p15:clr>
        </p15:guide>
        <p15:guide id="16" orient="horz" pos="3312">
          <p15:clr>
            <a:srgbClr val="F26B43"/>
          </p15:clr>
        </p15:guide>
        <p15:guide id="17" orient="horz" pos="2702">
          <p15:clr>
            <a:srgbClr val="F26B43"/>
          </p15:clr>
        </p15:guide>
        <p15:guide id="18" pos="2634">
          <p15:clr>
            <a:srgbClr val="F26B43"/>
          </p15:clr>
        </p15:guide>
        <p15:guide id="19" pos="5046">
          <p15:clr>
            <a:srgbClr val="F26B43"/>
          </p15:clr>
        </p15:guide>
        <p15:guide id="20" orient="horz" pos="1468">
          <p15:clr>
            <a:srgbClr val="F26B43"/>
          </p15:clr>
        </p15:guide>
        <p15:guide id="21" orient="horz" pos="1480">
          <p15:clr>
            <a:srgbClr val="F26B43"/>
          </p15:clr>
        </p15:guide>
        <p15:guide id="22" orient="horz" pos="2706">
          <p15:clr>
            <a:srgbClr val="F26B43"/>
          </p15:clr>
        </p15:guide>
        <p15:guide id="23" pos="2648">
          <p15:clr>
            <a:srgbClr val="F26B43"/>
          </p15:clr>
        </p15:guide>
        <p15:guide id="24" orient="horz" pos="576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22135-sliver.jpg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0" cy="457195"/>
          </a:xfrm>
          <a:prstGeom prst="rect">
            <a:avLst/>
          </a:prstGeom>
        </p:spPr>
      </p:pic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686541" y="54865"/>
            <a:ext cx="1079273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1600" kern="0">
                <a:solidFill>
                  <a:srgbClr val="FFFFFF"/>
                </a:solidFill>
                <a:cs typeface="Arial" charset="0"/>
              </a:rPr>
              <a:t>3M Engineering</a:t>
            </a:r>
          </a:p>
        </p:txBody>
      </p:sp>
      <p:pic>
        <p:nvPicPr>
          <p:cNvPr id="14" name="Picture 13" descr="3M_logo.emf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889" y="6400801"/>
            <a:ext cx="576223" cy="292433"/>
          </a:xfrm>
          <a:prstGeom prst="rect">
            <a:avLst/>
          </a:prstGeom>
        </p:spPr>
      </p:pic>
      <p:sp>
        <p:nvSpPr>
          <p:cNvPr id="15" name="Footer Placeholder 3"/>
          <p:cNvSpPr txBox="1">
            <a:spLocks/>
          </p:cNvSpPr>
          <p:nvPr/>
        </p:nvSpPr>
        <p:spPr>
          <a:xfrm>
            <a:off x="685979" y="6574536"/>
            <a:ext cx="4573191" cy="182880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z="900" kern="0">
                <a:solidFill>
                  <a:srgbClr val="000000">
                    <a:lumMod val="50000"/>
                    <a:lumOff val="50000"/>
                  </a:srgbClr>
                </a:solidFill>
                <a:ea typeface="Arial" charset="0"/>
                <a:cs typeface="Arial" charset="0"/>
              </a:rPr>
              <a:t>3M Confidential.</a:t>
            </a:r>
            <a:endParaRPr lang="en-US" sz="900" kern="0" dirty="0">
              <a:solidFill>
                <a:srgbClr val="000000">
                  <a:lumMod val="50000"/>
                  <a:lumOff val="50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273913" y="6567081"/>
            <a:ext cx="362044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2052321-C6F9-4678-99AF-88377A6A9DB1}" type="slidenum">
              <a:rPr lang="en-US" sz="1000">
                <a:solidFill>
                  <a:srgbClr val="000000">
                    <a:lumMod val="50000"/>
                    <a:lumOff val="50000"/>
                  </a:srgb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 Black" pitchFamily="34" charset="0"/>
              <a:cs typeface="Arial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6923631" y="6573836"/>
            <a:ext cx="4573191" cy="183581"/>
            <a:chOff x="6949440" y="6573835"/>
            <a:chExt cx="4572000" cy="183581"/>
          </a:xfrm>
        </p:grpSpPr>
        <p:grpSp>
          <p:nvGrpSpPr>
            <p:cNvPr id="18" name="Group 8"/>
            <p:cNvGrpSpPr/>
            <p:nvPr/>
          </p:nvGrpSpPr>
          <p:grpSpPr>
            <a:xfrm>
              <a:off x="6949440" y="6574536"/>
              <a:ext cx="4572000" cy="182880"/>
              <a:chOff x="6953905" y="6574536"/>
              <a:chExt cx="4572000" cy="182880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9289053" y="6574536"/>
                <a:ext cx="1177586" cy="1828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914088">
                  <a:defRPr/>
                </a:pPr>
                <a:fld id="{947A7B7F-7420-45D2-94CB-7DFC4A377B8C}" type="datetime3">
                  <a:rPr lang="en-US" sz="900" kern="0" smtClean="0">
                    <a:solidFill>
                      <a:srgbClr val="000000">
                        <a:lumMod val="50000"/>
                        <a:lumOff val="50000"/>
                      </a:srgbClr>
                    </a:solidFill>
                    <a:cs typeface="Arial" charset="0"/>
                  </a:rPr>
                  <a:pPr algn="r" defTabSz="914088">
                    <a:defRPr/>
                  </a:pPr>
                  <a:t>6 August 2018</a:t>
                </a:fld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cs typeface="Arial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9090069" y="6589264"/>
                <a:ext cx="1163039" cy="15342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08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" name="Footer Placeholder 3"/>
              <p:cNvSpPr txBox="1">
                <a:spLocks/>
              </p:cNvSpPr>
              <p:nvPr/>
            </p:nvSpPr>
            <p:spPr>
              <a:xfrm>
                <a:off x="6953905" y="6574536"/>
                <a:ext cx="4572000" cy="182880"/>
              </a:xfrm>
              <a:prstGeom prst="rect">
                <a:avLst/>
              </a:prstGeom>
            </p:spPr>
            <p:txBody>
              <a:bodyPr wrap="none" lIns="0" tIns="0" rIns="0" bIns="0"/>
              <a:lstStyle>
                <a:lvl1pPr>
                  <a:defRPr sz="800">
                    <a:solidFill>
                      <a:schemeClr val="bg2"/>
                    </a:solidFill>
                    <a:latin typeface="+mn-lt"/>
                  </a:defRPr>
                </a:lvl1pPr>
              </a:lstStyle>
              <a:p>
                <a:pPr algn="r" defTabSz="914088">
                  <a:tabLst>
                    <a:tab pos="798513" algn="r"/>
                  </a:tabLst>
                  <a:defRPr/>
                </a:pPr>
                <a:r>
                  <a:rPr lang="en-US" sz="900" kern="0">
                    <a:solidFill>
                      <a:srgbClr val="000000">
                        <a:lumMod val="50000"/>
                        <a:lumOff val="50000"/>
                      </a:srgbClr>
                    </a:solidFill>
                    <a:ea typeface="Arial" charset="0"/>
                    <a:cs typeface="Arial" charset="0"/>
                  </a:rPr>
                  <a:t>3M</a:t>
                </a:r>
                <a:r>
                  <a:rPr lang="en-US" sz="900" kern="0" dirty="0">
                    <a:solidFill>
                      <a:srgbClr val="000000">
                        <a:lumMod val="50000"/>
                        <a:lumOff val="50000"/>
                      </a:srgbClr>
                    </a:solidFill>
                    <a:ea typeface="Arial" charset="0"/>
                    <a:cs typeface="Arial" charset="0"/>
                  </a:rPr>
                  <a:t>. All Rights Reserved.</a:t>
                </a: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10151413" y="6573835"/>
              <a:ext cx="121567" cy="1532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>
                  <a:solidFill>
                    <a:srgbClr val="000000">
                      <a:lumMod val="50000"/>
                      <a:lumOff val="50000"/>
                    </a:srgbClr>
                  </a:solidFill>
                  <a:ea typeface="Arial" charset="0"/>
                  <a:cs typeface="Arial" charset="0"/>
                </a:rPr>
                <a:t>©</a:t>
              </a: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5388949" y="3075067"/>
            <a:ext cx="1380786" cy="76965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91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</p:sldLayoutIdLst>
  <p:transition>
    <p:fade/>
  </p:transition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lang="en-US" sz="3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2pPr>
      <a:lvl3pPr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3pPr>
      <a:lvl4pPr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4pPr>
      <a:lvl5pPr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5pPr>
      <a:lvl6pPr marL="4572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9pPr>
    </p:titleStyle>
    <p:bodyStyle>
      <a:lvl1pPr marL="236538" indent="-236538" algn="l" rtl="0" eaLnBrk="1" fontAlgn="base" hangingPunct="1">
        <a:spcBef>
          <a:spcPct val="20000"/>
        </a:spcBef>
        <a:spcAft>
          <a:spcPts val="504"/>
        </a:spcAft>
        <a:buClr>
          <a:schemeClr val="bg2"/>
        </a:buClr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338138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pitchFamily="34" charset="0"/>
        <a:buChar char="―"/>
        <a:defRPr sz="2400" i="0">
          <a:solidFill>
            <a:schemeClr val="tx1"/>
          </a:solidFill>
          <a:latin typeface="+mn-lt"/>
          <a:ea typeface="+mn-ea"/>
          <a:cs typeface="+mn-cs"/>
        </a:defRPr>
      </a:lvl2pPr>
      <a:lvl3pPr marL="738188" indent="-1635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80000"/>
        <a:buFont typeface="Arial" pitchFamily="34" charset="0"/>
        <a:buChar char="•"/>
        <a:defRPr sz="2000" i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62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pitchFamily="34" charset="0"/>
        <a:buChar char="–"/>
        <a:defRPr i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548640" algn="l" rtl="0" eaLnBrk="1" fontAlgn="base" hangingPunct="1">
        <a:spcBef>
          <a:spcPts val="600"/>
        </a:spcBef>
        <a:spcAft>
          <a:spcPts val="600"/>
        </a:spcAft>
        <a:buClr>
          <a:schemeClr val="bg2">
            <a:lumMod val="50000"/>
          </a:schemeClr>
        </a:buClr>
        <a:buSzPct val="80000"/>
        <a:buFont typeface="Wingdings" pitchFamily="2" charset="2"/>
        <a:buChar char="§"/>
        <a:defRPr sz="16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840" y="381000"/>
            <a:ext cx="10356382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839" y="1653924"/>
            <a:ext cx="10356382" cy="4594475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245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  <p:sldLayoutId id="2147483955" r:id="rId25"/>
    <p:sldLayoutId id="2147483956" r:id="rId26"/>
    <p:sldLayoutId id="214748395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22313" indent="-722313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SzPct val="100000"/>
        <a:buFontTx/>
        <a:buBlip>
          <a:blip r:embed="rId33"/>
        </a:buBlip>
        <a:defRPr lang="en-US" sz="28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987425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25253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14488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33413" indent="-2794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3" orient="horz" pos="4080">
          <p15:clr>
            <a:srgbClr val="F26B43"/>
          </p15:clr>
        </p15:guide>
        <p15:guide id="14" orient="horz" pos="3936">
          <p15:clr>
            <a:srgbClr val="F26B43"/>
          </p15:clr>
        </p15:guide>
        <p15:guide id="15" pos="5034">
          <p15:clr>
            <a:srgbClr val="F26B43"/>
          </p15:clr>
        </p15:guide>
        <p15:guide id="16" orient="horz" pos="3312">
          <p15:clr>
            <a:srgbClr val="F26B43"/>
          </p15:clr>
        </p15:guide>
        <p15:guide id="17" orient="horz" pos="2702">
          <p15:clr>
            <a:srgbClr val="F26B43"/>
          </p15:clr>
        </p15:guide>
        <p15:guide id="18" pos="2634">
          <p15:clr>
            <a:srgbClr val="F26B43"/>
          </p15:clr>
        </p15:guide>
        <p15:guide id="19" pos="5046">
          <p15:clr>
            <a:srgbClr val="F26B43"/>
          </p15:clr>
        </p15:guide>
        <p15:guide id="20" orient="horz" pos="1468">
          <p15:clr>
            <a:srgbClr val="F26B43"/>
          </p15:clr>
        </p15:guide>
        <p15:guide id="21" orient="horz" pos="1480">
          <p15:clr>
            <a:srgbClr val="F26B43"/>
          </p15:clr>
        </p15:guide>
        <p15:guide id="22" orient="horz" pos="2706">
          <p15:clr>
            <a:srgbClr val="F26B43"/>
          </p15:clr>
        </p15:guide>
        <p15:guide id="23" pos="2648">
          <p15:clr>
            <a:srgbClr val="F26B43"/>
          </p15:clr>
        </p15:guide>
        <p15:guide id="24" orient="horz" pos="57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76DBFCD-776E-4481-AD8D-0FA5CE3770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048" y="2286000"/>
            <a:ext cx="9521825" cy="1051116"/>
          </a:xfrm>
        </p:spPr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PELTOR </a:t>
            </a:r>
            <a:br>
              <a:rPr lang="sv-SE" dirty="0">
                <a:solidFill>
                  <a:schemeClr val="bg1"/>
                </a:solidFill>
              </a:rPr>
            </a:br>
            <a:r>
              <a:rPr lang="sv-SE" dirty="0">
                <a:solidFill>
                  <a:schemeClr val="bg1"/>
                </a:solidFill>
              </a:rPr>
              <a:t>Hygiene ki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30EEF4-7BBC-4805-A32D-B08223F2CD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4048" y="4257741"/>
            <a:ext cx="4334256" cy="480462"/>
          </a:xfrm>
        </p:spPr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2018-08-06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0EDFCE1-359F-4BA2-A38D-E28D90319CA8}"/>
              </a:ext>
            </a:extLst>
          </p:cNvPr>
          <p:cNvGrpSpPr/>
          <p:nvPr/>
        </p:nvGrpSpPr>
        <p:grpSpPr>
          <a:xfrm>
            <a:off x="410135" y="342173"/>
            <a:ext cx="2987891" cy="556662"/>
            <a:chOff x="410135" y="342173"/>
            <a:chExt cx="2987891" cy="556662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2671EB3-60F3-4726-B740-C9B966F62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0135" y="451748"/>
              <a:ext cx="639558" cy="33751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F2E3A3F-8744-4A80-AC38-4FDA630F04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86619" y="342173"/>
              <a:ext cx="2011407" cy="556662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FCB3133-4F6A-4031-BA3C-758B0D6D31DE}"/>
                </a:ext>
              </a:extLst>
            </p:cNvPr>
            <p:cNvCxnSpPr/>
            <p:nvPr/>
          </p:nvCxnSpPr>
          <p:spPr>
            <a:xfrm>
              <a:off x="1222928" y="451748"/>
              <a:ext cx="0" cy="369141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021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A233B48-87AC-42E8-AAC7-D3834EF1D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Why should I change the hygiene kit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6C99282-BC85-4605-98E5-37A3D842B08A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void unsanitary fungus grow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aintain product performance and attenuation</a:t>
            </a:r>
          </a:p>
          <a:p>
            <a:pPr marL="882650" lvl="3" indent="-342900"/>
            <a:r>
              <a:rPr lang="sv-SE" dirty="0"/>
              <a:t>Cushion material characteristics changes over time</a:t>
            </a:r>
          </a:p>
          <a:p>
            <a:pPr marL="882650" lvl="3" indent="-342900"/>
            <a:endParaRPr lang="sv-S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3C0BE3-0AF3-46D8-BCA1-02ED15CDA9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230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57D6E41-3319-4305-B971-4AA715853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ow do I change the hygiene kit?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94BE6E4-EE94-4F43-92E6-C50F4E52ACD4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130" y="1331033"/>
            <a:ext cx="3894844" cy="3888000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A052CC-EA5D-4627-872D-2BDA3A8440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6871" y="1331033"/>
            <a:ext cx="3888000" cy="388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7A56283-C2E2-4373-9997-59CF12A94726}"/>
              </a:ext>
            </a:extLst>
          </p:cNvPr>
          <p:cNvSpPr txBox="1"/>
          <p:nvPr/>
        </p:nvSpPr>
        <p:spPr>
          <a:xfrm>
            <a:off x="305222" y="5373078"/>
            <a:ext cx="114252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2000" dirty="0"/>
              <a:t>Remove the exisiting hygiene kit from your headset. Make sure that your replacement kit correspond to the old one and attach it to the headset.</a:t>
            </a:r>
          </a:p>
        </p:txBody>
      </p:sp>
    </p:spTree>
    <p:extLst>
      <p:ext uri="{BB962C8B-B14F-4D97-AF65-F5344CB8AC3E}">
        <p14:creationId xmlns:p14="http://schemas.microsoft.com/office/powerpoint/2010/main" val="1249580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6B0F23-BF5F-430E-9F59-904A25C7B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ow often should I change my hygiene kit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70ACD7-2114-42B5-96F7-8A9A761C70C7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sv-SE" dirty="0"/>
              <a:t>We recommend to change the hygiene kit once every six month.</a:t>
            </a:r>
          </a:p>
        </p:txBody>
      </p:sp>
    </p:spTree>
    <p:extLst>
      <p:ext uri="{BB962C8B-B14F-4D97-AF65-F5344CB8AC3E}">
        <p14:creationId xmlns:p14="http://schemas.microsoft.com/office/powerpoint/2010/main" val="106354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8661141-204B-4BDA-8FEE-0A3A7E613C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75626702"/>
              </p:ext>
            </p:extLst>
          </p:nvPr>
        </p:nvGraphicFramePr>
        <p:xfrm>
          <a:off x="379413" y="384175"/>
          <a:ext cx="9792000" cy="60579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392000">
                  <a:extLst>
                    <a:ext uri="{9D8B030D-6E8A-4147-A177-3AD203B41FA5}">
                      <a16:colId xmlns:a16="http://schemas.microsoft.com/office/drawing/2014/main" val="926635503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11862993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41458985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sv-SE" sz="24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2400" dirty="0"/>
                        <a:t>Article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2400" dirty="0"/>
                        <a:t>Hygiene k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273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rttac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6H210F-478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2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79058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Tac lll Sli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3H22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22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73739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rkTunes Pro FM-radi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RXS22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22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61688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505B for Welding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505B-596-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0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4899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me 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51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58736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ltor KI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510AK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880023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ll´s Eye 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5FB-516-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1, HY51 GN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285780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ll´s Eye 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0F-440-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65079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3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31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728811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me 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52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92166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sh To Listen MT155H53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55H53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3 PTL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26298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me 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54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090662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ll´s Eye 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0-441-G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54 GN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560649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SportTac, WS SportTac Ligh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6H21FWS5*-584G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68 SV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8681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Workstyl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6H21FWS5*-580SV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68 SV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7682334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291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04473605-E4CE-4711-BCFD-CF67746137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6557317"/>
              </p:ext>
            </p:extLst>
          </p:nvPr>
        </p:nvGraphicFramePr>
        <p:xfrm>
          <a:off x="379413" y="384175"/>
          <a:ext cx="9792000" cy="53111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392000">
                  <a:extLst>
                    <a:ext uri="{9D8B030D-6E8A-4147-A177-3AD203B41FA5}">
                      <a16:colId xmlns:a16="http://schemas.microsoft.com/office/drawing/2014/main" val="2633660748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340485571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7821046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sv-SE" sz="24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2400" dirty="0"/>
                        <a:t>Article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2400" dirty="0"/>
                        <a:t>Hygiene k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704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teCo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53H7*4*0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43953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teCom Plu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7H7*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5799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ctical XP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H7-*2-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272325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Headset XP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53H7*WS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569561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LiteCo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53H7*4410WS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589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ProTac XP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15H7*WS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8206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er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2RX7*- 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79, HY8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49289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M Radi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TRXS7A*-0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8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91276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dio XP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RXP7*-01 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8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100070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Alert XP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RX21A2WS6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8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820641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B+ FM radi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RXD7A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8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36090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Alert XPI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RX21AWS6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8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99094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S LiteCom PRO ll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T73H7*4D10N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8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58702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23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FF72DDAE-7D4E-44C9-8812-74F17977BB3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6793909"/>
              </p:ext>
            </p:extLst>
          </p:nvPr>
        </p:nvGraphicFramePr>
        <p:xfrm>
          <a:off x="379413" y="384175"/>
          <a:ext cx="9792000" cy="23241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392000">
                  <a:extLst>
                    <a:ext uri="{9D8B030D-6E8A-4147-A177-3AD203B41FA5}">
                      <a16:colId xmlns:a16="http://schemas.microsoft.com/office/drawing/2014/main" val="3759346673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1582373073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639988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sv-SE" sz="24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2400" dirty="0"/>
                        <a:t>Article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2400" dirty="0"/>
                        <a:t>Hygiene k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4413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X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596336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2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X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28819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3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X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691551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4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X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0597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5*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X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44426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377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curedBlobServlet [Read-Only]" id="{5D3FCC79-E99F-40E0-B8D9-CCE73F21DACD}" vid="{4B2627FC-C66E-44FF-B010-A64CAE55B84C}"/>
    </a:ext>
  </a:extLst>
</a:theme>
</file>

<file path=ppt/theme/theme2.xml><?xml version="1.0" encoding="utf-8"?>
<a:theme xmlns:a="http://schemas.openxmlformats.org/drawingml/2006/main" name="4_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3.xml><?xml version="1.0" encoding="utf-8"?>
<a:theme xmlns:a="http://schemas.openxmlformats.org/drawingml/2006/main" name="3M_2013_PPT_Template_1.2">
  <a:themeElements>
    <a:clrScheme name="SIGMA-OakHills">
      <a:dk1>
        <a:srgbClr val="000000"/>
      </a:dk1>
      <a:lt1>
        <a:srgbClr val="FFFFFF"/>
      </a:lt1>
      <a:dk2>
        <a:srgbClr val="7E6638"/>
      </a:dk2>
      <a:lt2>
        <a:srgbClr val="808080"/>
      </a:lt2>
      <a:accent1>
        <a:srgbClr val="3A3E76"/>
      </a:accent1>
      <a:accent2>
        <a:srgbClr val="3C694B"/>
      </a:accent2>
      <a:accent3>
        <a:srgbClr val="D64A3A"/>
      </a:accent3>
      <a:accent4>
        <a:srgbClr val="73BC2A"/>
      </a:accent4>
      <a:accent5>
        <a:srgbClr val="397477"/>
      </a:accent5>
      <a:accent6>
        <a:srgbClr val="38008A"/>
      </a:accent6>
      <a:hlink>
        <a:srgbClr val="E6372A"/>
      </a:hlink>
      <a:folHlink>
        <a:srgbClr val="A5A5A5"/>
      </a:folHlink>
    </a:clrScheme>
    <a:fontScheme name="3M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+mn-lt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mtClean="0">
            <a:latin typeface="+mn-lt"/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C4CB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AAB2D6"/>
        </a:accent5>
        <a:accent6>
          <a:srgbClr val="A22100"/>
        </a:accent6>
        <a:hlink>
          <a:srgbClr val="4C198C"/>
        </a:hlink>
        <a:folHlink>
          <a:srgbClr val="4C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A221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8A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8B1"/>
        </a:accent1>
        <a:accent2>
          <a:srgbClr val="7C9DCC"/>
        </a:accent2>
        <a:accent3>
          <a:srgbClr val="FFFFFF"/>
        </a:accent3>
        <a:accent4>
          <a:srgbClr val="000000"/>
        </a:accent4>
        <a:accent5>
          <a:srgbClr val="AAB9D5"/>
        </a:accent5>
        <a:accent6>
          <a:srgbClr val="708EB9"/>
        </a:accent6>
        <a:hlink>
          <a:srgbClr val="FF9933"/>
        </a:hlink>
        <a:folHlink>
          <a:srgbClr val="EEF3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23</TotalTime>
  <Words>299</Words>
  <Application>Microsoft Office PowerPoint</Application>
  <PresentationFormat>Widescreen</PresentationFormat>
  <Paragraphs>118</Paragraphs>
  <Slides>7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ＭＳ Ｐゴシック</vt:lpstr>
      <vt:lpstr>3M Circular TT Bold</vt:lpstr>
      <vt:lpstr>3M Circular TT Book</vt:lpstr>
      <vt:lpstr>Arial</vt:lpstr>
      <vt:lpstr>Arial Black</vt:lpstr>
      <vt:lpstr>Arial Narrow</vt:lpstr>
      <vt:lpstr>Calibri</vt:lpstr>
      <vt:lpstr>Wingdings</vt:lpstr>
      <vt:lpstr>ヒラギノ角ゴ Pro W3</vt:lpstr>
      <vt:lpstr>150209_3M_PPTTemplate_v7</vt:lpstr>
      <vt:lpstr>4_150209_3M_PPTTemplate_v7</vt:lpstr>
      <vt:lpstr>3M_2013_PPT_Template_1.2</vt:lpstr>
      <vt:lpstr>1_150209_3M_PPTTemplate_v7</vt:lpstr>
      <vt:lpstr>think-cell Slide</vt:lpstr>
      <vt:lpstr>PELTOR  Hygiene kit</vt:lpstr>
      <vt:lpstr>Why should I change the hygiene kit?</vt:lpstr>
      <vt:lpstr>How do I change the hygiene kit?</vt:lpstr>
      <vt:lpstr>How often should I change my hygiene kit?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a Damberg</dc:creator>
  <cp:lastModifiedBy>Kristina Gustafsson</cp:lastModifiedBy>
  <cp:revision>233</cp:revision>
  <dcterms:created xsi:type="dcterms:W3CDTF">2016-03-10T10:28:08Z</dcterms:created>
  <dcterms:modified xsi:type="dcterms:W3CDTF">2018-08-06T11:43:57Z</dcterms:modified>
</cp:coreProperties>
</file>